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399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844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DBDBD"/>
    <a:srgbClr val="727272"/>
    <a:srgbClr val="E5E5E5"/>
    <a:srgbClr val="D9D9D9"/>
    <a:srgbClr val="444444"/>
    <a:srgbClr val="EB0000"/>
    <a:srgbClr val="C60018"/>
    <a:srgbClr val="A20013"/>
    <a:srgbClr val="A8A8A8"/>
    <a:srgbClr val="8D8D8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50" d="100"/>
          <a:sy n="150" d="100"/>
        </p:scale>
        <p:origin x="576" y="120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844"/>
        <p:guide orient="horz" pos="3770"/>
        <p:guide orient="horz" pos="14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6E4AF49B-A06A-4787-92FE-8CB0B1971DCB}"/>
    <pc:docChg chg="delSld">
      <pc:chgData name="Meyer Raphael (PAR-ES)" userId="79615dfe-ed48-4e74-a40f-4f7b034c1c27" providerId="ADAL" clId="{6E4AF49B-A06A-4787-92FE-8CB0B1971DCB}" dt="2022-03-03T14:54:34.669" v="0" actId="47"/>
      <pc:docMkLst>
        <pc:docMk/>
      </pc:docMkLst>
      <pc:sldChg chg="del">
        <pc:chgData name="Meyer Raphael (PAR-ES)" userId="79615dfe-ed48-4e74-a40f-4f7b034c1c27" providerId="ADAL" clId="{6E4AF49B-A06A-4787-92FE-8CB0B1971DCB}" dt="2022-03-03T14:54:34.669" v="0" actId="47"/>
        <pc:sldMkLst>
          <pc:docMk/>
          <pc:sldMk cId="179071578" sldId="400"/>
        </pc:sldMkLst>
      </pc:sldChg>
      <pc:sldChg chg="del">
        <pc:chgData name="Meyer Raphael (PAR-ES)" userId="79615dfe-ed48-4e74-a40f-4f7b034c1c27" providerId="ADAL" clId="{6E4AF49B-A06A-4787-92FE-8CB0B1971DCB}" dt="2022-03-03T14:54:34.669" v="0" actId="47"/>
        <pc:sldMkLst>
          <pc:docMk/>
          <pc:sldMk cId="2084493369" sldId="401"/>
        </pc:sldMkLst>
      </pc:sldChg>
      <pc:sldChg chg="del">
        <pc:chgData name="Meyer Raphael (PAR-ES)" userId="79615dfe-ed48-4e74-a40f-4f7b034c1c27" providerId="ADAL" clId="{6E4AF49B-A06A-4787-92FE-8CB0B1971DCB}" dt="2022-03-03T14:54:34.669" v="0" actId="47"/>
        <pc:sldMkLst>
          <pc:docMk/>
          <pc:sldMk cId="1008431792" sldId="402"/>
        </pc:sldMkLst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Weigel Stefan (PAR-EPS)" userId="fd3b2067-2981-4ad8-bf3a-d2e1004e4fa8" providerId="ADAL" clId="{B77D2995-3195-470B-8848-B0FCB037AA53}"/>
    <pc:docChg chg="custSel modSld">
      <pc:chgData name="Weigel Stefan (PAR-EPS)" userId="fd3b2067-2981-4ad8-bf3a-d2e1004e4fa8" providerId="ADAL" clId="{B77D2995-3195-470B-8848-B0FCB037AA53}" dt="2024-01-10T18:58:18.017" v="15" actId="20577"/>
      <pc:docMkLst>
        <pc:docMk/>
      </pc:docMkLst>
      <pc:sldChg chg="modSp mod">
        <pc:chgData name="Weigel Stefan (PAR-EPS)" userId="fd3b2067-2981-4ad8-bf3a-d2e1004e4fa8" providerId="ADAL" clId="{B77D2995-3195-470B-8848-B0FCB037AA53}" dt="2024-01-10T18:58:18.017" v="15" actId="20577"/>
        <pc:sldMkLst>
          <pc:docMk/>
          <pc:sldMk cId="2338066774" sldId="399"/>
        </pc:sldMkLst>
        <pc:spChg chg="mod">
          <ac:chgData name="Weigel Stefan (PAR-EPS)" userId="fd3b2067-2981-4ad8-bf3a-d2e1004e4fa8" providerId="ADAL" clId="{B77D2995-3195-470B-8848-B0FCB037AA53}" dt="2024-01-10T18:56:04.611" v="1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B77D2995-3195-470B-8848-B0FCB037AA53}" dt="2024-01-10T18:58:18.017" v="15" actId="20577"/>
          <ac:spMkLst>
            <pc:docMk/>
            <pc:sldMk cId="2338066774" sldId="399"/>
            <ac:spMk id="7" creationId="{CE60A944-7104-442D-B06A-85C8256131F7}"/>
          </ac:spMkLst>
        </pc:spChg>
        <pc:spChg chg="mod">
          <ac:chgData name="Weigel Stefan (PAR-EPS)" userId="fd3b2067-2981-4ad8-bf3a-d2e1004e4fa8" providerId="ADAL" clId="{B77D2995-3195-470B-8848-B0FCB037AA53}" dt="2024-01-10T18:56:09.954" v="2" actId="255"/>
          <ac:spMkLst>
            <pc:docMk/>
            <pc:sldMk cId="2338066774" sldId="399"/>
            <ac:spMk id="11" creationId="{84F82B92-ACCD-41AC-8B9B-F49F946956E6}"/>
          </ac:spMkLst>
        </pc:spChg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Weigel Stefan (PAR-ES)" userId="fd3b2067-2981-4ad8-bf3a-d2e1004e4fa8" providerId="ADAL" clId="{A1A3D639-3142-44F7-B597-0CB5579B85F0}"/>
    <pc:docChg chg="modSld">
      <pc:chgData name="Weigel Stefan (PAR-ES)" userId="fd3b2067-2981-4ad8-bf3a-d2e1004e4fa8" providerId="ADAL" clId="{A1A3D639-3142-44F7-B597-0CB5579B85F0}" dt="2023-01-25T14:24:56.924" v="94" actId="692"/>
      <pc:docMkLst>
        <pc:docMk/>
      </pc:docMkLst>
      <pc:sldChg chg="modSp mod">
        <pc:chgData name="Weigel Stefan (PAR-ES)" userId="fd3b2067-2981-4ad8-bf3a-d2e1004e4fa8" providerId="ADAL" clId="{A1A3D639-3142-44F7-B597-0CB5579B85F0}" dt="2023-01-25T14:24:56.924" v="94" actId="692"/>
        <pc:sldMkLst>
          <pc:docMk/>
          <pc:sldMk cId="2338066774" sldId="399"/>
        </pc:sldMkLst>
        <pc:spChg chg="mod">
          <ac:chgData name="Weigel Stefan (PAR-ES)" userId="fd3b2067-2981-4ad8-bf3a-d2e1004e4fa8" providerId="ADAL" clId="{A1A3D639-3142-44F7-B597-0CB5579B85F0}" dt="2023-01-16T16:07:41.308" v="93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Weigel Stefan (PAR-ES)" userId="fd3b2067-2981-4ad8-bf3a-d2e1004e4fa8" providerId="ADAL" clId="{A1A3D639-3142-44F7-B597-0CB5579B85F0}" dt="2023-01-16T16:07:36.601" v="91" actId="1076"/>
          <ac:spMkLst>
            <pc:docMk/>
            <pc:sldMk cId="2338066774" sldId="399"/>
            <ac:spMk id="7" creationId="{CE60A944-7104-442D-B06A-85C8256131F7}"/>
          </ac:spMkLst>
        </pc:spChg>
        <pc:spChg chg="mod">
          <ac:chgData name="Weigel Stefan (PAR-ES)" userId="fd3b2067-2981-4ad8-bf3a-d2e1004e4fa8" providerId="ADAL" clId="{A1A3D639-3142-44F7-B597-0CB5579B85F0}" dt="2023-01-16T16:07:27.343" v="90" actId="1076"/>
          <ac:spMkLst>
            <pc:docMk/>
            <pc:sldMk cId="2338066774" sldId="399"/>
            <ac:spMk id="11" creationId="{84F82B92-ACCD-41AC-8B9B-F49F946956E6}"/>
          </ac:spMkLst>
        </pc:spChg>
        <pc:graphicFrameChg chg="mod">
          <ac:chgData name="Weigel Stefan (PAR-ES)" userId="fd3b2067-2981-4ad8-bf3a-d2e1004e4fa8" providerId="ADAL" clId="{A1A3D639-3142-44F7-B597-0CB5579B85F0}" dt="2023-01-25T14:24:56.924" v="94" actId="692"/>
          <ac:graphicFrameMkLst>
            <pc:docMk/>
            <pc:sldMk cId="2338066774" sldId="399"/>
            <ac:graphicFrameMk id="6" creationId="{67E5BF1A-DCFF-4431-8721-9C385B8E6F53}"/>
          </ac:graphicFrameMkLst>
        </pc:graphicFrameChg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Weigel Stefan (PAR-EPS)" userId="fd3b2067-2981-4ad8-bf3a-d2e1004e4fa8" providerId="ADAL" clId="{33009785-6D28-478A-94B3-830A34B059B0}"/>
    <pc:docChg chg="modSld">
      <pc:chgData name="Weigel Stefan (PAR-EPS)" userId="fd3b2067-2981-4ad8-bf3a-d2e1004e4fa8" providerId="ADAL" clId="{33009785-6D28-478A-94B3-830A34B059B0}" dt="2024-01-11T16:54:23.107" v="5" actId="27918"/>
      <pc:docMkLst>
        <pc:docMk/>
      </pc:docMkLst>
      <pc:sldChg chg="mod">
        <pc:chgData name="Weigel Stefan (PAR-EPS)" userId="fd3b2067-2981-4ad8-bf3a-d2e1004e4fa8" providerId="ADAL" clId="{33009785-6D28-478A-94B3-830A34B059B0}" dt="2024-01-11T16:54:23.107" v="5" actId="27918"/>
        <pc:sldMkLst>
          <pc:docMk/>
          <pc:sldMk cId="2338066774" sldId="399"/>
        </pc:sldMkLst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Weigel Stefan (PAR-ES)" userId="fd3b2067-2981-4ad8-bf3a-d2e1004e4fa8" providerId="ADAL" clId="{295825D0-A81A-454A-B86E-FEA0EEF6ACCD}"/>
    <pc:docChg chg="custSel modSld">
      <pc:chgData name="Weigel Stefan (PAR-ES)" userId="fd3b2067-2981-4ad8-bf3a-d2e1004e4fa8" providerId="ADAL" clId="{295825D0-A81A-454A-B86E-FEA0EEF6ACCD}" dt="2023-01-25T14:29:08.967" v="12" actId="27918"/>
      <pc:docMkLst>
        <pc:docMk/>
      </pc:docMkLst>
      <pc:sldChg chg="modSp mod">
        <pc:chgData name="Weigel Stefan (PAR-ES)" userId="fd3b2067-2981-4ad8-bf3a-d2e1004e4fa8" providerId="ADAL" clId="{295825D0-A81A-454A-B86E-FEA0EEF6ACCD}" dt="2023-01-25T14:29:08.967" v="12" actId="27918"/>
        <pc:sldMkLst>
          <pc:docMk/>
          <pc:sldMk cId="2338066774" sldId="399"/>
        </pc:sldMkLst>
        <pc:spChg chg="mod">
          <ac:chgData name="Weigel Stefan (PAR-ES)" userId="fd3b2067-2981-4ad8-bf3a-d2e1004e4fa8" providerId="ADAL" clId="{295825D0-A81A-454A-B86E-FEA0EEF6ACCD}" dt="2023-01-25T14:28:32.984" v="2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Weigel Stefan (PAR-ES)" userId="fd3b2067-2981-4ad8-bf3a-d2e1004e4fa8" providerId="ADAL" clId="{295825D0-A81A-454A-B86E-FEA0EEF6ACCD}" dt="2023-01-25T14:29:00.351" v="9" actId="20577"/>
          <ac:spMkLst>
            <pc:docMk/>
            <pc:sldMk cId="2338066774" sldId="399"/>
            <ac:spMk id="7" creationId="{CE60A944-7104-442D-B06A-85C8256131F7}"/>
          </ac:spMkLst>
        </pc:spChg>
        <pc:spChg chg="mod">
          <ac:chgData name="Weigel Stefan (PAR-ES)" userId="fd3b2067-2981-4ad8-bf3a-d2e1004e4fa8" providerId="ADAL" clId="{295825D0-A81A-454A-B86E-FEA0EEF6ACCD}" dt="2023-01-25T14:28:56.679" v="3"/>
          <ac:spMkLst>
            <pc:docMk/>
            <pc:sldMk cId="2338066774" sldId="399"/>
            <ac:spMk id="11" creationId="{84F82B92-ACCD-41AC-8B9B-F49F946956E6}"/>
          </ac:spMkLst>
        </pc:sp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0BE059E5-9B00-412E-A1C8-3B1900FD7999}"/>
    <pc:docChg chg="addSld delSld">
      <pc:chgData name="Meyer Raphael (PAR-ES)" userId="79615dfe-ed48-4e74-a40f-4f7b034c1c27" providerId="ADAL" clId="{0BE059E5-9B00-412E-A1C8-3B1900FD7999}" dt="2022-01-17T13:59:13.933" v="7" actId="2890"/>
      <pc:docMkLst>
        <pc:docMk/>
      </pc:docMkLst>
      <pc:sldChg chg="del">
        <pc:chgData name="Meyer Raphael (PAR-ES)" userId="79615dfe-ed48-4e74-a40f-4f7b034c1c27" providerId="ADAL" clId="{0BE059E5-9B00-412E-A1C8-3B1900FD7999}" dt="2022-01-17T13:57:43.341" v="3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0BE059E5-9B00-412E-A1C8-3B1900FD7999}" dt="2022-01-17T13:57:36.682" v="1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0BE059E5-9B00-412E-A1C8-3B1900FD7999}" dt="2022-01-17T13:57:24.005" v="0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0BE059E5-9B00-412E-A1C8-3B1900FD7999}" dt="2022-01-17T13:57:36.682" v="1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0BE059E5-9B00-412E-A1C8-3B1900FD7999}" dt="2022-01-17T13:57:39.788" v="2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0BE059E5-9B00-412E-A1C8-3B1900FD7999}" dt="2022-01-17T13:57:39.788" v="2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0BE059E5-9B00-412E-A1C8-3B1900FD7999}" dt="2022-01-17T13:57:43.341" v="3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0BE059E5-9B00-412E-A1C8-3B1900FD7999}" dt="2022-01-17T13:57:39.788" v="2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0BE059E5-9B00-412E-A1C8-3B1900FD7999}" dt="2022-01-17T13:57:36.682" v="1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0BE059E5-9B00-412E-A1C8-3B1900FD7999}" dt="2022-01-17T13:59:04.964" v="4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0BE059E5-9B00-412E-A1C8-3B1900FD7999}" dt="2022-01-17T13:57:43.341" v="3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0BE059E5-9B00-412E-A1C8-3B1900FD7999}" dt="2022-01-17T13:57:43.341" v="3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0BE059E5-9B00-412E-A1C8-3B1900FD7999}" dt="2022-01-17T13:57:36.682" v="1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0BE059E5-9B00-412E-A1C8-3B1900FD7999}" dt="2022-01-17T13:57:39.788" v="2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0BE059E5-9B00-412E-A1C8-3B1900FD7999}" dt="2022-01-17T13:57:24.005" v="0" actId="47"/>
        <pc:sldMkLst>
          <pc:docMk/>
          <pc:sldMk cId="2131180641" sldId="398"/>
        </pc:sldMkLst>
      </pc:sldChg>
      <pc:sldChg chg="add">
        <pc:chgData name="Meyer Raphael (PAR-ES)" userId="79615dfe-ed48-4e74-a40f-4f7b034c1c27" providerId="ADAL" clId="{0BE059E5-9B00-412E-A1C8-3B1900FD7999}" dt="2022-01-17T13:59:12.049" v="5" actId="2890"/>
        <pc:sldMkLst>
          <pc:docMk/>
          <pc:sldMk cId="179071578" sldId="400"/>
        </pc:sldMkLst>
      </pc:sldChg>
      <pc:sldChg chg="add">
        <pc:chgData name="Meyer Raphael (PAR-ES)" userId="79615dfe-ed48-4e74-a40f-4f7b034c1c27" providerId="ADAL" clId="{0BE059E5-9B00-412E-A1C8-3B1900FD7999}" dt="2022-01-17T13:59:13.214" v="6" actId="2890"/>
        <pc:sldMkLst>
          <pc:docMk/>
          <pc:sldMk cId="2084493369" sldId="401"/>
        </pc:sldMkLst>
      </pc:sldChg>
      <pc:sldChg chg="add">
        <pc:chgData name="Meyer Raphael (PAR-ES)" userId="79615dfe-ed48-4e74-a40f-4f7b034c1c27" providerId="ADAL" clId="{0BE059E5-9B00-412E-A1C8-3B1900FD7999}" dt="2022-01-17T13:59:13.933" v="7" actId="2890"/>
        <pc:sldMkLst>
          <pc:docMk/>
          <pc:sldMk cId="1008431792" sldId="402"/>
        </pc:sldMkLst>
      </pc:sldChg>
      <pc:sldMasterChg chg="delSldLayout">
        <pc:chgData name="Meyer Raphael (PAR-ES)" userId="79615dfe-ed48-4e74-a40f-4f7b034c1c27" providerId="ADAL" clId="{0BE059E5-9B00-412E-A1C8-3B1900FD7999}" dt="2022-01-17T13:57:43.341" v="3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0BE059E5-9B00-412E-A1C8-3B1900FD7999}" dt="2022-01-17T13:57:43.341" v="3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Weigel Stefan (PAR-EPS)" userId="fd3b2067-2981-4ad8-bf3a-d2e1004e4fa8" providerId="ADAL" clId="{AC4C394C-C6D1-4359-884F-54EFED3D3013}"/>
    <pc:docChg chg="modSld">
      <pc:chgData name="Weigel Stefan (PAR-EPS)" userId="fd3b2067-2981-4ad8-bf3a-d2e1004e4fa8" providerId="ADAL" clId="{AC4C394C-C6D1-4359-884F-54EFED3D3013}" dt="2024-02-01T17:24:05.524" v="5" actId="27918"/>
      <pc:docMkLst>
        <pc:docMk/>
      </pc:docMkLst>
      <pc:sldChg chg="mod">
        <pc:chgData name="Weigel Stefan (PAR-EPS)" userId="fd3b2067-2981-4ad8-bf3a-d2e1004e4fa8" providerId="ADAL" clId="{AC4C394C-C6D1-4359-884F-54EFED3D3013}" dt="2024-02-01T17:24:05.524" v="5" actId="27918"/>
        <pc:sldMkLst>
          <pc:docMk/>
          <pc:sldMk cId="2338066774" sldId="399"/>
        </pc:sldMkLst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EB5DEF9F-F706-47F6-B6EB-2038FBF844C5}"/>
    <pc:docChg chg="custSel delSld modSld">
      <pc:chgData name="Meyer Raphael (PAR-ES)" userId="79615dfe-ed48-4e74-a40f-4f7b034c1c27" providerId="ADAL" clId="{EB5DEF9F-F706-47F6-B6EB-2038FBF844C5}" dt="2022-01-17T15:29:07.310" v="33" actId="47"/>
      <pc:docMkLst>
        <pc:docMk/>
      </pc:docMkLst>
      <pc:sldChg chg="del">
        <pc:chgData name="Meyer Raphael (PAR-ES)" userId="79615dfe-ed48-4e74-a40f-4f7b034c1c27" providerId="ADAL" clId="{EB5DEF9F-F706-47F6-B6EB-2038FBF844C5}" dt="2022-01-17T15:29:07.310" v="33" actId="47"/>
        <pc:sldMkLst>
          <pc:docMk/>
          <pc:sldMk cId="2505455628" sldId="394"/>
        </pc:sldMkLst>
      </pc:sldChg>
      <pc:sldChg chg="modSp mod">
        <pc:chgData name="Meyer Raphael (PAR-ES)" userId="79615dfe-ed48-4e74-a40f-4f7b034c1c27" providerId="ADAL" clId="{EB5DEF9F-F706-47F6-B6EB-2038FBF844C5}" dt="2022-01-17T15:25:25.967" v="17" actId="20577"/>
        <pc:sldMkLst>
          <pc:docMk/>
          <pc:sldMk cId="2084493369" sldId="401"/>
        </pc:sldMkLst>
        <pc:spChg chg="mod">
          <ac:chgData name="Meyer Raphael (PAR-ES)" userId="79615dfe-ed48-4e74-a40f-4f7b034c1c27" providerId="ADAL" clId="{EB5DEF9F-F706-47F6-B6EB-2038FBF844C5}" dt="2022-01-17T15:23:10.622" v="2" actId="20577"/>
          <ac:spMkLst>
            <pc:docMk/>
            <pc:sldMk cId="2084493369" sldId="40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EB5DEF9F-F706-47F6-B6EB-2038FBF844C5}" dt="2022-01-17T15:24:57.509" v="14" actId="20577"/>
          <ac:spMkLst>
            <pc:docMk/>
            <pc:sldMk cId="2084493369" sldId="401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EB5DEF9F-F706-47F6-B6EB-2038FBF844C5}" dt="2022-01-17T15:25:25.967" v="17" actId="20577"/>
          <ac:spMkLst>
            <pc:docMk/>
            <pc:sldMk cId="2084493369" sldId="401"/>
            <ac:spMk id="11" creationId="{84F82B92-ACCD-41AC-8B9B-F49F946956E6}"/>
          </ac:spMkLst>
        </pc:spChg>
      </pc:sldChg>
      <pc:sldChg chg="modSp mod">
        <pc:chgData name="Meyer Raphael (PAR-ES)" userId="79615dfe-ed48-4e74-a40f-4f7b034c1c27" providerId="ADAL" clId="{EB5DEF9F-F706-47F6-B6EB-2038FBF844C5}" dt="2022-01-17T15:28:38.821" v="32" actId="20577"/>
        <pc:sldMkLst>
          <pc:docMk/>
          <pc:sldMk cId="1008431792" sldId="402"/>
        </pc:sldMkLst>
        <pc:spChg chg="mod">
          <ac:chgData name="Meyer Raphael (PAR-ES)" userId="79615dfe-ed48-4e74-a40f-4f7b034c1c27" providerId="ADAL" clId="{EB5DEF9F-F706-47F6-B6EB-2038FBF844C5}" dt="2022-01-17T15:27:38.747" v="20" actId="20577"/>
          <ac:spMkLst>
            <pc:docMk/>
            <pc:sldMk cId="1008431792" sldId="40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EB5DEF9F-F706-47F6-B6EB-2038FBF844C5}" dt="2022-01-17T15:28:18.017" v="29" actId="20577"/>
          <ac:spMkLst>
            <pc:docMk/>
            <pc:sldMk cId="1008431792" sldId="402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EB5DEF9F-F706-47F6-B6EB-2038FBF844C5}" dt="2022-01-17T15:28:38.821" v="32" actId="20577"/>
          <ac:spMkLst>
            <pc:docMk/>
            <pc:sldMk cId="1008431792" sldId="402"/>
            <ac:spMk id="11" creationId="{84F82B92-ACCD-41AC-8B9B-F49F946956E6}"/>
          </ac:spMkLst>
        </pc:spChg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F82E127-1ED1-4162-A039-B6321E3D039C}"/>
    <pc:docChg chg="modSld">
      <pc:chgData name="Meyer Raphael (PAR-ES)" userId="79615dfe-ed48-4e74-a40f-4f7b034c1c27" providerId="ADAL" clId="{3F82E127-1ED1-4162-A039-B6321E3D039C}" dt="2022-01-17T14:03:49.595" v="8" actId="20577"/>
      <pc:docMkLst>
        <pc:docMk/>
      </pc:docMkLst>
      <pc:sldChg chg="modSp mod">
        <pc:chgData name="Meyer Raphael (PAR-ES)" userId="79615dfe-ed48-4e74-a40f-4f7b034c1c27" providerId="ADAL" clId="{3F82E127-1ED1-4162-A039-B6321E3D039C}" dt="2022-01-17T14:03:49.595" v="8" actId="20577"/>
        <pc:sldMkLst>
          <pc:docMk/>
          <pc:sldMk cId="179071578" sldId="400"/>
        </pc:sldMkLst>
        <pc:spChg chg="mod">
          <ac:chgData name="Meyer Raphael (PAR-ES)" userId="79615dfe-ed48-4e74-a40f-4f7b034c1c27" providerId="ADAL" clId="{3F82E127-1ED1-4162-A039-B6321E3D039C}" dt="2022-01-17T14:02:36.178" v="2" actId="20577"/>
          <ac:spMkLst>
            <pc:docMk/>
            <pc:sldMk cId="179071578" sldId="40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F82E127-1ED1-4162-A039-B6321E3D039C}" dt="2022-01-17T14:03:49.595" v="8" actId="20577"/>
          <ac:spMkLst>
            <pc:docMk/>
            <pc:sldMk cId="179071578" sldId="400"/>
            <ac:spMk id="11" creationId="{84F82B92-ACCD-41AC-8B9B-F49F946956E6}"/>
          </ac:spMkLst>
        </pc:sp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495011838962335"/>
          <c:y val="0.10745262598812517"/>
          <c:w val="0.73522028368375747"/>
          <c:h val="0.79946404345414779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data!$C$20</c:f>
              <c:strCache>
                <c:ptCount val="1"/>
                <c:pt idx="0">
                  <c:v>Uomini</c:v>
                </c:pt>
              </c:strCache>
            </c:strRef>
          </c:tx>
          <c:spPr>
            <a:solidFill>
              <a:srgbClr val="BDBDBD"/>
            </a:solidFill>
            <a:ln>
              <a:noFill/>
            </a:ln>
          </c:spPr>
          <c:invertIfNegative val="0"/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CC5-4387-A227-3B5CA15071DA}"/>
              </c:ext>
            </c:extLst>
          </c:dPt>
          <c:cat>
            <c:strRef>
              <c:f>data!$B$21:$B$31</c:f>
              <c:strCache>
                <c:ptCount val="11"/>
                <c:pt idx="0">
                  <c:v>Meno di 20 anni</c:v>
                </c:pt>
                <c:pt idx="1">
                  <c:v>Da 20 a 24 anni</c:v>
                </c:pt>
                <c:pt idx="2">
                  <c:v>Da 25 a 29 anni</c:v>
                </c:pt>
                <c:pt idx="3">
                  <c:v>Da 30 a 34 anni</c:v>
                </c:pt>
                <c:pt idx="4">
                  <c:v>Da 35 a 39 anni</c:v>
                </c:pt>
                <c:pt idx="5">
                  <c:v>Da 40 a 44 anni</c:v>
                </c:pt>
                <c:pt idx="6">
                  <c:v>Da 45 a 49 anni</c:v>
                </c:pt>
                <c:pt idx="7">
                  <c:v>Da 50 a 54 anni</c:v>
                </c:pt>
                <c:pt idx="8">
                  <c:v>Da 55 a 59 anni</c:v>
                </c:pt>
                <c:pt idx="9">
                  <c:v>Da 60 a 64 anni</c:v>
                </c:pt>
                <c:pt idx="10">
                  <c:v>65 e più anni</c:v>
                </c:pt>
              </c:strCache>
            </c:strRef>
          </c:cat>
          <c:val>
            <c:numRef>
              <c:f>data!$C$21:$C$31</c:f>
              <c:numCache>
                <c:formatCode>#,##0</c:formatCode>
                <c:ptCount val="11"/>
                <c:pt idx="0">
                  <c:v>-133</c:v>
                </c:pt>
                <c:pt idx="1">
                  <c:v>-1117</c:v>
                </c:pt>
                <c:pt idx="2">
                  <c:v>-2011</c:v>
                </c:pt>
                <c:pt idx="3">
                  <c:v>-2918</c:v>
                </c:pt>
                <c:pt idx="4">
                  <c:v>-3144</c:v>
                </c:pt>
                <c:pt idx="5">
                  <c:v>-3019</c:v>
                </c:pt>
                <c:pt idx="6">
                  <c:v>-2929</c:v>
                </c:pt>
                <c:pt idx="7">
                  <c:v>-3476</c:v>
                </c:pt>
                <c:pt idx="8">
                  <c:v>-4086</c:v>
                </c:pt>
                <c:pt idx="9">
                  <c:v>-2768</c:v>
                </c:pt>
                <c:pt idx="10">
                  <c:v>-1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CC5-4387-A227-3B5CA15071DA}"/>
            </c:ext>
          </c:extLst>
        </c:ser>
        <c:ser>
          <c:idx val="1"/>
          <c:order val="1"/>
          <c:tx>
            <c:strRef>
              <c:f>data!$D$20</c:f>
              <c:strCache>
                <c:ptCount val="1"/>
                <c:pt idx="0">
                  <c:v>Donne</c:v>
                </c:pt>
              </c:strCache>
            </c:strRef>
          </c:tx>
          <c:spPr>
            <a:solidFill>
              <a:srgbClr val="727272"/>
            </a:solidFill>
            <a:ln>
              <a:noFill/>
            </a:ln>
          </c:spPr>
          <c:invertIfNegative val="0"/>
          <c:cat>
            <c:strRef>
              <c:f>data!$B$21:$B$31</c:f>
              <c:strCache>
                <c:ptCount val="11"/>
                <c:pt idx="0">
                  <c:v>Meno di 20 anni</c:v>
                </c:pt>
                <c:pt idx="1">
                  <c:v>Da 20 a 24 anni</c:v>
                </c:pt>
                <c:pt idx="2">
                  <c:v>Da 25 a 29 anni</c:v>
                </c:pt>
                <c:pt idx="3">
                  <c:v>Da 30 a 34 anni</c:v>
                </c:pt>
                <c:pt idx="4">
                  <c:v>Da 35 a 39 anni</c:v>
                </c:pt>
                <c:pt idx="5">
                  <c:v>Da 40 a 44 anni</c:v>
                </c:pt>
                <c:pt idx="6">
                  <c:v>Da 45 a 49 anni</c:v>
                </c:pt>
                <c:pt idx="7">
                  <c:v>Da 50 a 54 anni</c:v>
                </c:pt>
                <c:pt idx="8">
                  <c:v>Da 55 a 59 anni</c:v>
                </c:pt>
                <c:pt idx="9">
                  <c:v>Da 60 a 64 anni</c:v>
                </c:pt>
                <c:pt idx="10">
                  <c:v>65 e più anni</c:v>
                </c:pt>
              </c:strCache>
            </c:strRef>
          </c:cat>
          <c:val>
            <c:numRef>
              <c:f>data!$D$21:$D$31</c:f>
              <c:numCache>
                <c:formatCode>#,##0</c:formatCode>
                <c:ptCount val="11"/>
                <c:pt idx="0">
                  <c:v>51</c:v>
                </c:pt>
                <c:pt idx="1">
                  <c:v>438</c:v>
                </c:pt>
                <c:pt idx="2">
                  <c:v>805</c:v>
                </c:pt>
                <c:pt idx="3">
                  <c:v>904</c:v>
                </c:pt>
                <c:pt idx="4">
                  <c:v>931</c:v>
                </c:pt>
                <c:pt idx="5">
                  <c:v>791</c:v>
                </c:pt>
                <c:pt idx="6">
                  <c:v>785</c:v>
                </c:pt>
                <c:pt idx="7">
                  <c:v>761</c:v>
                </c:pt>
                <c:pt idx="8">
                  <c:v>578</c:v>
                </c:pt>
                <c:pt idx="9">
                  <c:v>229</c:v>
                </c:pt>
                <c:pt idx="10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CC5-4387-A227-3B5CA15071D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125733120"/>
        <c:axId val="125422208"/>
      </c:barChart>
      <c:valAx>
        <c:axId val="125422208"/>
        <c:scaling>
          <c:orientation val="minMax"/>
          <c:max val="2000"/>
          <c:min val="-5000"/>
        </c:scaling>
        <c:delete val="0"/>
        <c:axPos val="b"/>
        <c:majorGridlines/>
        <c:numFmt formatCode="0;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050">
                <a:solidFill>
                  <a:schemeClr val="tx1"/>
                </a:solidFill>
              </a:defRPr>
            </a:pPr>
            <a:endParaRPr lang="de-DE"/>
          </a:p>
        </c:txPr>
        <c:crossAx val="125733120"/>
        <c:crossesAt val="1"/>
        <c:crossBetween val="between"/>
        <c:majorUnit val="2000"/>
      </c:valAx>
      <c:catAx>
        <c:axId val="125733120"/>
        <c:scaling>
          <c:orientation val="minMax"/>
        </c:scaling>
        <c:delete val="0"/>
        <c:axPos val="r"/>
        <c:numFmt formatCode="General" sourceLinked="1"/>
        <c:majorTickMark val="none"/>
        <c:minorTickMark val="none"/>
        <c:tickLblPos val="high"/>
        <c:spPr>
          <a:ln>
            <a:solidFill>
              <a:schemeClr val="tx1"/>
            </a:solidFill>
          </a:ln>
        </c:spPr>
        <c:txPr>
          <a:bodyPr/>
          <a:lstStyle/>
          <a:p>
            <a:pPr>
              <a:defRPr sz="1050"/>
            </a:pPr>
            <a:endParaRPr lang="de-DE"/>
          </a:p>
        </c:txPr>
        <c:crossAx val="125422208"/>
        <c:crosses val="max"/>
        <c:auto val="0"/>
        <c:lblAlgn val="ctr"/>
        <c:lblOffset val="100"/>
        <c:noMultiLvlLbl val="0"/>
      </c:catAx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55758</cdr:x>
      <cdr:y>0.04657</cdr:y>
    </cdr:from>
    <cdr:to>
      <cdr:x>0.60893</cdr:x>
      <cdr:y>0.09894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5576243" y="208331"/>
          <a:ext cx="513529" cy="234286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050" dirty="0" err="1"/>
            <a:t>Uomini</a:t>
          </a:r>
          <a:r>
            <a:rPr lang="de-CH" sz="1050" dirty="0"/>
            <a:t> </a:t>
          </a:r>
          <a:endParaRPr lang="de-CH" sz="1050" dirty="0">
            <a:latin typeface="Arial" pitchFamily="34" charset="0"/>
            <a:cs typeface="Arial" pitchFamily="34" charset="0"/>
          </a:endParaRPr>
        </a:p>
      </cdr:txBody>
    </cdr:sp>
  </cdr:relSizeAnchor>
  <cdr:relSizeAnchor xmlns:cdr="http://schemas.openxmlformats.org/drawingml/2006/chartDrawing">
    <cdr:from>
      <cdr:x>0.66814</cdr:x>
      <cdr:y>0.04427</cdr:y>
    </cdr:from>
    <cdr:to>
      <cdr:x>0.71741</cdr:x>
      <cdr:y>0.09664</cdr:y>
    </cdr:to>
    <cdr:sp macro="" textlink="">
      <cdr:nvSpPr>
        <cdr:cNvPr id="3" name="Textfeld 1"/>
        <cdr:cNvSpPr txBox="1"/>
      </cdr:nvSpPr>
      <cdr:spPr>
        <a:xfrm xmlns:a="http://schemas.openxmlformats.org/drawingml/2006/main">
          <a:off x="6681931" y="198042"/>
          <a:ext cx="492690" cy="234286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36000" tIns="36000" rIns="36000" bIns="36000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de-CH" sz="1050" dirty="0"/>
            <a:t>Donne </a:t>
          </a:r>
          <a:endParaRPr lang="de-CH" sz="1050" dirty="0">
            <a:latin typeface="Arial" pitchFamily="34" charset="0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2.02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BB • Division • Abteilung oder Bereich • DD.MM.YY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ED26404-58E8-4486-905C-9BBBD7B83F82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63235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9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theme" Target="../theme/theme3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slideLayout" Target="../slideLayouts/slideLayout87.xml"/><Relationship Id="rId40" Type="http://schemas.openxmlformats.org/officeDocument/2006/relationships/image" Target="../media/image10.emf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  <p:sldLayoutId id="2147483750" r:id="rId3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0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441158"/>
          </a:xfrm>
        </p:spPr>
        <p:txBody>
          <a:bodyPr/>
          <a:lstStyle/>
          <a:p>
            <a:r>
              <a:rPr lang="it-IT" dirty="0"/>
              <a:t>Collaboratrici e collaboratori per età nel 2023.</a:t>
            </a:r>
            <a:br>
              <a:rPr lang="de-CH" dirty="0"/>
            </a:br>
            <a:endParaRPr lang="de-CH" sz="1400" dirty="0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CE60A944-7104-442D-B06A-85C8256131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760988" y="5875749"/>
            <a:ext cx="1727767" cy="170649"/>
          </a:xfrm>
        </p:spPr>
        <p:txBody>
          <a:bodyPr/>
          <a:lstStyle/>
          <a:p>
            <a:pPr algn="r"/>
            <a:r>
              <a:rPr lang="de-CH" sz="1050" kern="0" spc="0" dirty="0">
                <a:solidFill>
                  <a:srgbClr val="444444"/>
                </a:solidFill>
              </a:rPr>
              <a:t>reporting.sbb.ch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84F82B92-ACCD-41AC-8B9B-F49F946956E6}"/>
              </a:ext>
            </a:extLst>
          </p:cNvPr>
          <p:cNvSpPr txBox="1"/>
          <p:nvPr/>
        </p:nvSpPr>
        <p:spPr>
          <a:xfrm>
            <a:off x="1703245" y="6075491"/>
            <a:ext cx="9217025" cy="578428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r>
              <a:rPr lang="it-IT" sz="1050" dirty="0">
                <a:latin typeface="+mj-lt"/>
                <a:cs typeface="Arial" pitchFamily="34" charset="0"/>
              </a:rPr>
              <a:t>Collaboratrici e collaboratori nella media annua. FFS SA e FFS Cargo SA (Svizzera).</a:t>
            </a:r>
          </a:p>
        </p:txBody>
      </p:sp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67E5BF1A-DCFF-4431-8721-9C385B8E6F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62435678"/>
              </p:ext>
            </p:extLst>
          </p:nvPr>
        </p:nvGraphicFramePr>
        <p:xfrm>
          <a:off x="703716" y="1402252"/>
          <a:ext cx="10000795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3380667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f009240c06d823fa9e5067539a33b6c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44a221af132cb57b1a13d5397cbea3a0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Props1.xml><?xml version="1.0" encoding="utf-8"?>
<ds:datastoreItem xmlns:ds="http://schemas.openxmlformats.org/officeDocument/2006/customXml" ds:itemID="{F4558C9A-0592-4455-92B3-595B25A9A05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915E158-F398-42BF-8A91-7C2A147B9234}">
  <ds:schemaRefs>
    <ds:schemaRef ds:uri="http://schemas.microsoft.com/office/2006/documentManagement/types"/>
    <ds:schemaRef ds:uri="http://schemas.microsoft.com/office/2006/metadata/properties"/>
    <ds:schemaRef ds:uri="http://purl.org/dc/elements/1.1/"/>
    <ds:schemaRef ds:uri="2f5c8543-cf23-4718-a3b8-32b0a91d511a"/>
    <ds:schemaRef ds:uri="96e82a89-ba48-4728-b345-cf206dbec8f1"/>
    <ds:schemaRef ds:uri="http://schemas.openxmlformats.org/package/2006/metadata/core-properties"/>
    <ds:schemaRef ds:uri="http://purl.org/dc/terms/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6</Words>
  <Application>Microsoft Office PowerPoint</Application>
  <PresentationFormat>Breitbild</PresentationFormat>
  <Paragraphs>7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Collaboratrici e collaboratori per età nel 2023. 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llaboratrici e collaboratori per età nel 2023._x000b_</dc:title>
  <dc:creator>Meyer Raphael (KOM-PGA-VSF)</dc:creator>
  <cp:lastModifiedBy>Stefan Weigel (PAR-EPS)</cp:lastModifiedBy>
  <cp:revision>55</cp:revision>
  <dcterms:created xsi:type="dcterms:W3CDTF">2020-09-30T11:00:09Z</dcterms:created>
  <dcterms:modified xsi:type="dcterms:W3CDTF">2024-02-02T11:53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